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270" autoAdjust="0"/>
    <p:restoredTop sz="94660"/>
  </p:normalViewPr>
  <p:slideViewPr>
    <p:cSldViewPr snapToGrid="0">
      <p:cViewPr varScale="1">
        <p:scale>
          <a:sx n="119" d="100"/>
          <a:sy n="119" d="100"/>
        </p:scale>
        <p:origin x="55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37</c:f>
              <c:numCache>
                <c:formatCode>m/d/yyyy</c:formatCode>
                <c:ptCount val="23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</c:numCache>
            </c:numRef>
          </c:cat>
          <c:val>
            <c:numRef>
              <c:f>Sheet1!$D$2:$D$237</c:f>
              <c:numCache>
                <c:formatCode>#,##0</c:formatCode>
                <c:ptCount val="236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3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8</c:v>
                </c:pt>
                <c:pt idx="101">
                  <c:v>308</c:v>
                </c:pt>
                <c:pt idx="102">
                  <c:v>304</c:v>
                </c:pt>
                <c:pt idx="103">
                  <c:v>302</c:v>
                </c:pt>
                <c:pt idx="104">
                  <c:v>312</c:v>
                </c:pt>
                <c:pt idx="105">
                  <c:v>308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4</c:v>
                </c:pt>
                <c:pt idx="123">
                  <c:v>455</c:v>
                </c:pt>
                <c:pt idx="124">
                  <c:v>474</c:v>
                </c:pt>
                <c:pt idx="125">
                  <c:v>511</c:v>
                </c:pt>
                <c:pt idx="126">
                  <c:v>534</c:v>
                </c:pt>
                <c:pt idx="127">
                  <c:v>553</c:v>
                </c:pt>
                <c:pt idx="128">
                  <c:v>564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4</c:v>
                </c:pt>
                <c:pt idx="138">
                  <c:v>590</c:v>
                </c:pt>
                <c:pt idx="139">
                  <c:v>588</c:v>
                </c:pt>
                <c:pt idx="140">
                  <c:v>578</c:v>
                </c:pt>
                <c:pt idx="141">
                  <c:v>560</c:v>
                </c:pt>
                <c:pt idx="142">
                  <c:v>554</c:v>
                </c:pt>
                <c:pt idx="143">
                  <c:v>539</c:v>
                </c:pt>
                <c:pt idx="144">
                  <c:v>536</c:v>
                </c:pt>
                <c:pt idx="145">
                  <c:v>539</c:v>
                </c:pt>
                <c:pt idx="146">
                  <c:v>539</c:v>
                </c:pt>
                <c:pt idx="147">
                  <c:v>548</c:v>
                </c:pt>
                <c:pt idx="148">
                  <c:v>548</c:v>
                </c:pt>
                <c:pt idx="149">
                  <c:v>544</c:v>
                </c:pt>
                <c:pt idx="150">
                  <c:v>515</c:v>
                </c:pt>
                <c:pt idx="151">
                  <c:v>522</c:v>
                </c:pt>
                <c:pt idx="152">
                  <c:v>529</c:v>
                </c:pt>
                <c:pt idx="153">
                  <c:v>547</c:v>
                </c:pt>
                <c:pt idx="154">
                  <c:v>531</c:v>
                </c:pt>
                <c:pt idx="155">
                  <c:v>531</c:v>
                </c:pt>
                <c:pt idx="156">
                  <c:v>548</c:v>
                </c:pt>
                <c:pt idx="157">
                  <c:v>541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5</c:v>
                </c:pt>
                <c:pt idx="165">
                  <c:v>560</c:v>
                </c:pt>
                <c:pt idx="166">
                  <c:v>579</c:v>
                </c:pt>
                <c:pt idx="167">
                  <c:v>569</c:v>
                </c:pt>
                <c:pt idx="168">
                  <c:v>593</c:v>
                </c:pt>
                <c:pt idx="169">
                  <c:v>607</c:v>
                </c:pt>
                <c:pt idx="170">
                  <c:v>617</c:v>
                </c:pt>
                <c:pt idx="171">
                  <c:v>636</c:v>
                </c:pt>
                <c:pt idx="172">
                  <c:v>657</c:v>
                </c:pt>
                <c:pt idx="173">
                  <c:v>665</c:v>
                </c:pt>
                <c:pt idx="174">
                  <c:v>682</c:v>
                </c:pt>
                <c:pt idx="175">
                  <c:v>696</c:v>
                </c:pt>
                <c:pt idx="176">
                  <c:v>683</c:v>
                </c:pt>
                <c:pt idx="177">
                  <c:v>729</c:v>
                </c:pt>
                <c:pt idx="178">
                  <c:v>721</c:v>
                </c:pt>
                <c:pt idx="179">
                  <c:v>714</c:v>
                </c:pt>
                <c:pt idx="180">
                  <c:v>740</c:v>
                </c:pt>
                <c:pt idx="181">
                  <c:v>781</c:v>
                </c:pt>
                <c:pt idx="182">
                  <c:v>799</c:v>
                </c:pt>
                <c:pt idx="183">
                  <c:v>805</c:v>
                </c:pt>
                <c:pt idx="184">
                  <c:v>826</c:v>
                </c:pt>
                <c:pt idx="185">
                  <c:v>841</c:v>
                </c:pt>
                <c:pt idx="186">
                  <c:v>851</c:v>
                </c:pt>
                <c:pt idx="187">
                  <c:v>870</c:v>
                </c:pt>
                <c:pt idx="188">
                  <c:v>919</c:v>
                </c:pt>
                <c:pt idx="189">
                  <c:v>909</c:v>
                </c:pt>
                <c:pt idx="190">
                  <c:v>917</c:v>
                </c:pt>
                <c:pt idx="191">
                  <c:v>918</c:v>
                </c:pt>
                <c:pt idx="192">
                  <c:v>928</c:v>
                </c:pt>
                <c:pt idx="193">
                  <c:v>911</c:v>
                </c:pt>
                <c:pt idx="194">
                  <c:v>937</c:v>
                </c:pt>
                <c:pt idx="195">
                  <c:v>942</c:v>
                </c:pt>
                <c:pt idx="196">
                  <c:v>927</c:v>
                </c:pt>
                <c:pt idx="197">
                  <c:v>926</c:v>
                </c:pt>
                <c:pt idx="198">
                  <c:v>953</c:v>
                </c:pt>
                <c:pt idx="199">
                  <c:v>945</c:v>
                </c:pt>
                <c:pt idx="200">
                  <c:v>940</c:v>
                </c:pt>
                <c:pt idx="201">
                  <c:v>935</c:v>
                </c:pt>
                <c:pt idx="202">
                  <c:v>974</c:v>
                </c:pt>
                <c:pt idx="203">
                  <c:v>933</c:v>
                </c:pt>
                <c:pt idx="204">
                  <c:v>925</c:v>
                </c:pt>
                <c:pt idx="205">
                  <c:v>913</c:v>
                </c:pt>
                <c:pt idx="206">
                  <c:v>915</c:v>
                </c:pt>
                <c:pt idx="207">
                  <c:v>881</c:v>
                </c:pt>
                <c:pt idx="208">
                  <c:v>866</c:v>
                </c:pt>
                <c:pt idx="209">
                  <c:v>870</c:v>
                </c:pt>
                <c:pt idx="210">
                  <c:v>844</c:v>
                </c:pt>
                <c:pt idx="211">
                  <c:v>816</c:v>
                </c:pt>
                <c:pt idx="212">
                  <c:v>795</c:v>
                </c:pt>
                <c:pt idx="213">
                  <c:v>767</c:v>
                </c:pt>
                <c:pt idx="214">
                  <c:v>730</c:v>
                </c:pt>
                <c:pt idx="215">
                  <c:v>719</c:v>
                </c:pt>
                <c:pt idx="216">
                  <c:v>715</c:v>
                </c:pt>
                <c:pt idx="217">
                  <c:v>738</c:v>
                </c:pt>
                <c:pt idx="218">
                  <c:v>714</c:v>
                </c:pt>
                <c:pt idx="219">
                  <c:v>681</c:v>
                </c:pt>
                <c:pt idx="220">
                  <c:v>640</c:v>
                </c:pt>
                <c:pt idx="221">
                  <c:v>617</c:v>
                </c:pt>
                <c:pt idx="222">
                  <c:v>618</c:v>
                </c:pt>
                <c:pt idx="223">
                  <c:v>608</c:v>
                </c:pt>
                <c:pt idx="224">
                  <c:v>587</c:v>
                </c:pt>
                <c:pt idx="225">
                  <c:v>553</c:v>
                </c:pt>
                <c:pt idx="226">
                  <c:v>534</c:v>
                </c:pt>
                <c:pt idx="227">
                  <c:v>527</c:v>
                </c:pt>
                <c:pt idx="228">
                  <c:v>499</c:v>
                </c:pt>
                <c:pt idx="229" formatCode="General">
                  <c:v>505</c:v>
                </c:pt>
                <c:pt idx="230" formatCode="General">
                  <c:v>503</c:v>
                </c:pt>
                <c:pt idx="231" formatCode="General">
                  <c:v>488</c:v>
                </c:pt>
                <c:pt idx="232" formatCode="General">
                  <c:v>475</c:v>
                </c:pt>
                <c:pt idx="233" formatCode="General">
                  <c:v>431</c:v>
                </c:pt>
                <c:pt idx="234" formatCode="General">
                  <c:v>412</c:v>
                </c:pt>
                <c:pt idx="235" formatCode="General">
                  <c:v>3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28"/>
              <c:layout>
                <c:manualLayout>
                  <c:x val="-8.6341035191621739E-3"/>
                  <c:y val="-9.0736290612282389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18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22B3-47F2-9BD6-517B264C61A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37</c:f>
              <c:numCache>
                <c:formatCode>m/d/yyyy</c:formatCode>
                <c:ptCount val="23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</c:numCache>
            </c:numRef>
          </c:cat>
          <c:val>
            <c:numRef>
              <c:f>Sheet1!$B$2:$B$237</c:f>
              <c:numCache>
                <c:formatCode>#,##0</c:formatCode>
                <c:ptCount val="236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 formatCode="General">
                  <c:v>528</c:v>
                </c:pt>
                <c:pt idx="230" formatCode="General">
                  <c:v>552</c:v>
                </c:pt>
                <c:pt idx="231" formatCode="General">
                  <c:v>593</c:v>
                </c:pt>
                <c:pt idx="232" formatCode="General">
                  <c:v>554</c:v>
                </c:pt>
                <c:pt idx="233" formatCode="General">
                  <c:v>595</c:v>
                </c:pt>
                <c:pt idx="234" formatCode="General">
                  <c:v>613</c:v>
                </c:pt>
                <c:pt idx="235" formatCode="General">
                  <c:v>6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37</c:f>
              <c:numCache>
                <c:formatCode>m/d/yyyy</c:formatCode>
                <c:ptCount val="23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</c:numCache>
            </c:numRef>
          </c:cat>
          <c:val>
            <c:numRef>
              <c:f>Sheet1!$C$2:$C$237</c:f>
              <c:numCache>
                <c:formatCode>#,##0</c:formatCode>
                <c:ptCount val="23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37</c:f>
              <c:numCache>
                <c:formatCode>m/d/yyyy</c:formatCode>
                <c:ptCount val="23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</c:numCache>
            </c:numRef>
          </c:cat>
          <c:val>
            <c:numRef>
              <c:f>Sheet1!$D$2:$D$237</c:f>
              <c:numCache>
                <c:formatCode>#,##0</c:formatCode>
                <c:ptCount val="236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6</c:v>
                </c:pt>
                <c:pt idx="56">
                  <c:v>2972</c:v>
                </c:pt>
                <c:pt idx="57">
                  <c:v>3035</c:v>
                </c:pt>
                <c:pt idx="58">
                  <c:v>3251</c:v>
                </c:pt>
                <c:pt idx="59">
                  <c:v>3298</c:v>
                </c:pt>
                <c:pt idx="60">
                  <c:v>3360</c:v>
                </c:pt>
                <c:pt idx="61">
                  <c:v>3443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4</c:v>
                </c:pt>
                <c:pt idx="67">
                  <c:v>3350</c:v>
                </c:pt>
                <c:pt idx="68">
                  <c:v>3354</c:v>
                </c:pt>
                <c:pt idx="69">
                  <c:v>3290</c:v>
                </c:pt>
                <c:pt idx="70">
                  <c:v>3195</c:v>
                </c:pt>
                <c:pt idx="71">
                  <c:v>2967</c:v>
                </c:pt>
                <c:pt idx="72">
                  <c:v>2890</c:v>
                </c:pt>
                <c:pt idx="73">
                  <c:v>2750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4</c:v>
                </c:pt>
                <c:pt idx="82">
                  <c:v>2129</c:v>
                </c:pt>
                <c:pt idx="83">
                  <c:v>2158</c:v>
                </c:pt>
                <c:pt idx="84">
                  <c:v>2097</c:v>
                </c:pt>
                <c:pt idx="85">
                  <c:v>2023</c:v>
                </c:pt>
                <c:pt idx="86">
                  <c:v>1933</c:v>
                </c:pt>
                <c:pt idx="87">
                  <c:v>1810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7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0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2</c:v>
                </c:pt>
                <c:pt idx="127">
                  <c:v>3085</c:v>
                </c:pt>
                <c:pt idx="128">
                  <c:v>3078</c:v>
                </c:pt>
                <c:pt idx="129">
                  <c:v>2936</c:v>
                </c:pt>
                <c:pt idx="130">
                  <c:v>2967</c:v>
                </c:pt>
                <c:pt idx="131">
                  <c:v>2974</c:v>
                </c:pt>
                <c:pt idx="132">
                  <c:v>2978</c:v>
                </c:pt>
                <c:pt idx="133">
                  <c:v>3046</c:v>
                </c:pt>
                <c:pt idx="134">
                  <c:v>2967</c:v>
                </c:pt>
                <c:pt idx="135">
                  <c:v>2926</c:v>
                </c:pt>
                <c:pt idx="136">
                  <c:v>2874</c:v>
                </c:pt>
                <c:pt idx="137">
                  <c:v>2759</c:v>
                </c:pt>
                <c:pt idx="138">
                  <c:v>2746</c:v>
                </c:pt>
                <c:pt idx="139">
                  <c:v>2703</c:v>
                </c:pt>
                <c:pt idx="140">
                  <c:v>2641</c:v>
                </c:pt>
                <c:pt idx="141">
                  <c:v>2596</c:v>
                </c:pt>
                <c:pt idx="142">
                  <c:v>2589</c:v>
                </c:pt>
                <c:pt idx="143">
                  <c:v>2554</c:v>
                </c:pt>
                <c:pt idx="144">
                  <c:v>2520</c:v>
                </c:pt>
                <c:pt idx="145">
                  <c:v>2521</c:v>
                </c:pt>
                <c:pt idx="146">
                  <c:v>2544</c:v>
                </c:pt>
                <c:pt idx="147">
                  <c:v>2526</c:v>
                </c:pt>
                <c:pt idx="148">
                  <c:v>2418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8</c:v>
                </c:pt>
                <c:pt idx="158">
                  <c:v>2346</c:v>
                </c:pt>
                <c:pt idx="159">
                  <c:v>2410</c:v>
                </c:pt>
                <c:pt idx="160">
                  <c:v>2473</c:v>
                </c:pt>
                <c:pt idx="161">
                  <c:v>2490</c:v>
                </c:pt>
                <c:pt idx="162">
                  <c:v>2420</c:v>
                </c:pt>
                <c:pt idx="163">
                  <c:v>2454</c:v>
                </c:pt>
                <c:pt idx="164">
                  <c:v>2405</c:v>
                </c:pt>
                <c:pt idx="165">
                  <c:v>2470</c:v>
                </c:pt>
                <c:pt idx="166">
                  <c:v>2588</c:v>
                </c:pt>
                <c:pt idx="167">
                  <c:v>2620</c:v>
                </c:pt>
                <c:pt idx="168">
                  <c:v>2651</c:v>
                </c:pt>
                <c:pt idx="169">
                  <c:v>2716</c:v>
                </c:pt>
                <c:pt idx="170">
                  <c:v>2756</c:v>
                </c:pt>
                <c:pt idx="171">
                  <c:v>2677</c:v>
                </c:pt>
                <c:pt idx="172">
                  <c:v>2684</c:v>
                </c:pt>
                <c:pt idx="173">
                  <c:v>2806</c:v>
                </c:pt>
                <c:pt idx="174">
                  <c:v>3000</c:v>
                </c:pt>
                <c:pt idx="175">
                  <c:v>3019</c:v>
                </c:pt>
                <c:pt idx="176">
                  <c:v>3030</c:v>
                </c:pt>
                <c:pt idx="177">
                  <c:v>3041</c:v>
                </c:pt>
                <c:pt idx="178">
                  <c:v>3127</c:v>
                </c:pt>
                <c:pt idx="179">
                  <c:v>3233</c:v>
                </c:pt>
                <c:pt idx="180">
                  <c:v>3371</c:v>
                </c:pt>
                <c:pt idx="181">
                  <c:v>3575</c:v>
                </c:pt>
                <c:pt idx="182">
                  <c:v>3620</c:v>
                </c:pt>
                <c:pt idx="183">
                  <c:v>3597</c:v>
                </c:pt>
                <c:pt idx="184">
                  <c:v>3680</c:v>
                </c:pt>
                <c:pt idx="185">
                  <c:v>3707</c:v>
                </c:pt>
                <c:pt idx="186">
                  <c:v>3787</c:v>
                </c:pt>
                <c:pt idx="187">
                  <c:v>3875</c:v>
                </c:pt>
                <c:pt idx="188">
                  <c:v>3927</c:v>
                </c:pt>
                <c:pt idx="189">
                  <c:v>3943</c:v>
                </c:pt>
                <c:pt idx="190">
                  <c:v>3956</c:v>
                </c:pt>
                <c:pt idx="191">
                  <c:v>3926</c:v>
                </c:pt>
                <c:pt idx="192">
                  <c:v>3862</c:v>
                </c:pt>
                <c:pt idx="193">
                  <c:v>3973</c:v>
                </c:pt>
                <c:pt idx="194">
                  <c:v>4042</c:v>
                </c:pt>
                <c:pt idx="195">
                  <c:v>4188</c:v>
                </c:pt>
                <c:pt idx="196">
                  <c:v>4103</c:v>
                </c:pt>
                <c:pt idx="197">
                  <c:v>4025</c:v>
                </c:pt>
                <c:pt idx="198">
                  <c:v>3996</c:v>
                </c:pt>
                <c:pt idx="199">
                  <c:v>3793</c:v>
                </c:pt>
                <c:pt idx="200">
                  <c:v>3719</c:v>
                </c:pt>
                <c:pt idx="201">
                  <c:v>3796</c:v>
                </c:pt>
                <c:pt idx="202">
                  <c:v>3813</c:v>
                </c:pt>
                <c:pt idx="203">
                  <c:v>3683</c:v>
                </c:pt>
                <c:pt idx="204">
                  <c:v>3540</c:v>
                </c:pt>
                <c:pt idx="205">
                  <c:v>3470</c:v>
                </c:pt>
                <c:pt idx="206">
                  <c:v>3329</c:v>
                </c:pt>
                <c:pt idx="207">
                  <c:v>3354</c:v>
                </c:pt>
                <c:pt idx="208">
                  <c:v>3383</c:v>
                </c:pt>
                <c:pt idx="209">
                  <c:v>3354</c:v>
                </c:pt>
                <c:pt idx="210">
                  <c:v>3279</c:v>
                </c:pt>
                <c:pt idx="211">
                  <c:v>3144</c:v>
                </c:pt>
                <c:pt idx="212">
                  <c:v>2995</c:v>
                </c:pt>
                <c:pt idx="213">
                  <c:v>2812</c:v>
                </c:pt>
                <c:pt idx="214">
                  <c:v>2769</c:v>
                </c:pt>
                <c:pt idx="215">
                  <c:v>2830</c:v>
                </c:pt>
                <c:pt idx="216">
                  <c:v>2845</c:v>
                </c:pt>
                <c:pt idx="217">
                  <c:v>3045</c:v>
                </c:pt>
                <c:pt idx="218">
                  <c:v>2866</c:v>
                </c:pt>
                <c:pt idx="219">
                  <c:v>2690</c:v>
                </c:pt>
                <c:pt idx="220">
                  <c:v>2418</c:v>
                </c:pt>
                <c:pt idx="221">
                  <c:v>2326</c:v>
                </c:pt>
                <c:pt idx="222">
                  <c:v>2342</c:v>
                </c:pt>
                <c:pt idx="223">
                  <c:v>2333</c:v>
                </c:pt>
                <c:pt idx="224">
                  <c:v>2240</c:v>
                </c:pt>
                <c:pt idx="225">
                  <c:v>2110</c:v>
                </c:pt>
                <c:pt idx="226">
                  <c:v>1935</c:v>
                </c:pt>
                <c:pt idx="227">
                  <c:v>1790</c:v>
                </c:pt>
                <c:pt idx="228">
                  <c:v>1760</c:v>
                </c:pt>
                <c:pt idx="229">
                  <c:v>1772</c:v>
                </c:pt>
                <c:pt idx="230">
                  <c:v>1823</c:v>
                </c:pt>
                <c:pt idx="231">
                  <c:v>1714</c:v>
                </c:pt>
                <c:pt idx="232">
                  <c:v>1622</c:v>
                </c:pt>
                <c:pt idx="233">
                  <c:v>1544</c:v>
                </c:pt>
                <c:pt idx="234">
                  <c:v>1442</c:v>
                </c:pt>
                <c:pt idx="235">
                  <c:v>13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28"/>
              <c:layout>
                <c:manualLayout>
                  <c:x val="-1.2878628343815882E-2"/>
                  <c:y val="-4.9396283362822598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 698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0-FAD9-41A5-9B24-319A654422A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37</c:f>
              <c:numCache>
                <c:formatCode>m/d/yyyy</c:formatCode>
                <c:ptCount val="23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</c:numCache>
            </c:numRef>
          </c:cat>
          <c:val>
            <c:numRef>
              <c:f>Sheet1!$B$2:$B$237</c:f>
              <c:numCache>
                <c:formatCode>#,##0</c:formatCode>
                <c:ptCount val="236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  <c:pt idx="233">
                  <c:v>6341</c:v>
                </c:pt>
                <c:pt idx="234">
                  <c:v>6541</c:v>
                </c:pt>
                <c:pt idx="235">
                  <c:v>66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37</c:f>
              <c:numCache>
                <c:formatCode>m/d/yyyy</c:formatCode>
                <c:ptCount val="23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</c:numCache>
            </c:numRef>
          </c:cat>
          <c:val>
            <c:numRef>
              <c:f>Sheet1!$C$2:$C$237</c:f>
              <c:numCache>
                <c:formatCode>#,##0</c:formatCode>
                <c:ptCount val="23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37</c:f>
              <c:numCache>
                <c:formatCode>m/d/yyyy</c:formatCode>
                <c:ptCount val="23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</c:numCache>
            </c:numRef>
          </c:cat>
          <c:val>
            <c:numRef>
              <c:f>Sheet1!$D$2:$D$237</c:f>
              <c:numCache>
                <c:formatCode>#,##0</c:formatCode>
                <c:ptCount val="23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3</c:v>
                </c:pt>
                <c:pt idx="199">
                  <c:v>34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5">
                  <c:v>26</c:v>
                </c:pt>
                <c:pt idx="206">
                  <c:v>29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5</c:v>
                </c:pt>
                <c:pt idx="213">
                  <c:v>29</c:v>
                </c:pt>
                <c:pt idx="214">
                  <c:v>29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8</c:v>
                </c:pt>
                <c:pt idx="225">
                  <c:v>16</c:v>
                </c:pt>
                <c:pt idx="226">
                  <c:v>17</c:v>
                </c:pt>
                <c:pt idx="227">
                  <c:v>18</c:v>
                </c:pt>
                <c:pt idx="228">
                  <c:v>18</c:v>
                </c:pt>
                <c:pt idx="229" formatCode="General">
                  <c:v>19</c:v>
                </c:pt>
                <c:pt idx="230" formatCode="General">
                  <c:v>21</c:v>
                </c:pt>
                <c:pt idx="231" formatCode="General">
                  <c:v>18</c:v>
                </c:pt>
                <c:pt idx="232" formatCode="General">
                  <c:v>20</c:v>
                </c:pt>
                <c:pt idx="233" formatCode="General">
                  <c:v>21</c:v>
                </c:pt>
                <c:pt idx="234" formatCode="General">
                  <c:v>20</c:v>
                </c:pt>
                <c:pt idx="235" formatCode="General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28"/>
              <c:layout>
                <c:manualLayout>
                  <c:x val="-1.0886804832506937E-2"/>
                  <c:y val="-3.5924569718416476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40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3C7C-46FD-AC56-781B4A4EF2D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37</c:f>
              <c:numCache>
                <c:formatCode>m/d/yyyy</c:formatCode>
                <c:ptCount val="23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</c:numCache>
            </c:numRef>
          </c:cat>
          <c:val>
            <c:numRef>
              <c:f>Sheet1!$B$2:$B$237</c:f>
              <c:numCache>
                <c:formatCode>#,##0</c:formatCode>
                <c:ptCount val="236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 formatCode="General">
                  <c:v>46</c:v>
                </c:pt>
                <c:pt idx="230" formatCode="General">
                  <c:v>42</c:v>
                </c:pt>
                <c:pt idx="231" formatCode="General">
                  <c:v>42</c:v>
                </c:pt>
                <c:pt idx="232" formatCode="General">
                  <c:v>41</c:v>
                </c:pt>
                <c:pt idx="233" formatCode="General">
                  <c:v>40</c:v>
                </c:pt>
                <c:pt idx="234" formatCode="General">
                  <c:v>40</c:v>
                </c:pt>
                <c:pt idx="235" formatCode="General">
                  <c:v>4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37</c:f>
              <c:numCache>
                <c:formatCode>m/d/yyyy</c:formatCode>
                <c:ptCount val="23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</c:numCache>
            </c:numRef>
          </c:cat>
          <c:val>
            <c:numRef>
              <c:f>Sheet1!$C$2:$C$237</c:f>
              <c:numCache>
                <c:formatCode>#,##0</c:formatCode>
                <c:ptCount val="23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01769606503E-2"/>
          <c:y val="3.4628599943211873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37</c:f>
              <c:numCache>
                <c:formatCode>m/d/yyyy</c:formatCode>
                <c:ptCount val="23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</c:numCache>
            </c:numRef>
          </c:cat>
          <c:val>
            <c:numRef>
              <c:f>Sheet1!$D$2:$D$237</c:f>
              <c:numCache>
                <c:formatCode>#,##0</c:formatCode>
                <c:ptCount val="236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5</c:v>
                </c:pt>
                <c:pt idx="68">
                  <c:v>1166</c:v>
                </c:pt>
                <c:pt idx="69">
                  <c:v>1181</c:v>
                </c:pt>
                <c:pt idx="70">
                  <c:v>1167</c:v>
                </c:pt>
                <c:pt idx="71">
                  <c:v>1108</c:v>
                </c:pt>
                <c:pt idx="72">
                  <c:v>1104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8</c:v>
                </c:pt>
                <c:pt idx="84">
                  <c:v>877</c:v>
                </c:pt>
                <c:pt idx="85">
                  <c:v>853</c:v>
                </c:pt>
                <c:pt idx="86">
                  <c:v>840</c:v>
                </c:pt>
                <c:pt idx="87">
                  <c:v>795</c:v>
                </c:pt>
                <c:pt idx="88">
                  <c:v>776</c:v>
                </c:pt>
                <c:pt idx="89">
                  <c:v>761</c:v>
                </c:pt>
                <c:pt idx="90">
                  <c:v>786</c:v>
                </c:pt>
                <c:pt idx="91">
                  <c:v>728</c:v>
                </c:pt>
                <c:pt idx="92">
                  <c:v>712</c:v>
                </c:pt>
                <c:pt idx="93">
                  <c:v>714</c:v>
                </c:pt>
                <c:pt idx="94">
                  <c:v>710</c:v>
                </c:pt>
                <c:pt idx="95">
                  <c:v>685</c:v>
                </c:pt>
                <c:pt idx="96">
                  <c:v>672</c:v>
                </c:pt>
                <c:pt idx="97">
                  <c:v>710</c:v>
                </c:pt>
                <c:pt idx="98">
                  <c:v>698</c:v>
                </c:pt>
                <c:pt idx="99">
                  <c:v>684</c:v>
                </c:pt>
                <c:pt idx="100">
                  <c:v>709</c:v>
                </c:pt>
                <c:pt idx="101">
                  <c:v>697</c:v>
                </c:pt>
                <c:pt idx="102">
                  <c:v>693</c:v>
                </c:pt>
                <c:pt idx="103">
                  <c:v>707</c:v>
                </c:pt>
                <c:pt idx="104">
                  <c:v>725</c:v>
                </c:pt>
                <c:pt idx="105">
                  <c:v>722</c:v>
                </c:pt>
                <c:pt idx="106">
                  <c:v>734</c:v>
                </c:pt>
                <c:pt idx="107">
                  <c:v>723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8</c:v>
                </c:pt>
                <c:pt idx="123">
                  <c:v>958</c:v>
                </c:pt>
                <c:pt idx="124">
                  <c:v>1004</c:v>
                </c:pt>
                <c:pt idx="125">
                  <c:v>1090</c:v>
                </c:pt>
                <c:pt idx="126">
                  <c:v>1111</c:v>
                </c:pt>
                <c:pt idx="127">
                  <c:v>1149</c:v>
                </c:pt>
                <c:pt idx="128">
                  <c:v>1148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69</c:v>
                </c:pt>
                <c:pt idx="135">
                  <c:v>1178</c:v>
                </c:pt>
                <c:pt idx="136">
                  <c:v>1168</c:v>
                </c:pt>
                <c:pt idx="137">
                  <c:v>1158</c:v>
                </c:pt>
                <c:pt idx="138">
                  <c:v>1129</c:v>
                </c:pt>
                <c:pt idx="139">
                  <c:v>1154</c:v>
                </c:pt>
                <c:pt idx="140">
                  <c:v>1135</c:v>
                </c:pt>
                <c:pt idx="141">
                  <c:v>1111</c:v>
                </c:pt>
                <c:pt idx="142">
                  <c:v>1105</c:v>
                </c:pt>
                <c:pt idx="143">
                  <c:v>1109</c:v>
                </c:pt>
                <c:pt idx="144">
                  <c:v>1091</c:v>
                </c:pt>
                <c:pt idx="145">
                  <c:v>1057</c:v>
                </c:pt>
                <c:pt idx="146">
                  <c:v>1079</c:v>
                </c:pt>
                <c:pt idx="147">
                  <c:v>1046</c:v>
                </c:pt>
                <c:pt idx="148">
                  <c:v>1037</c:v>
                </c:pt>
                <c:pt idx="149">
                  <c:v>1018</c:v>
                </c:pt>
                <c:pt idx="150">
                  <c:v>1018</c:v>
                </c:pt>
                <c:pt idx="151">
                  <c:v>1022</c:v>
                </c:pt>
                <c:pt idx="152">
                  <c:v>1040</c:v>
                </c:pt>
                <c:pt idx="153">
                  <c:v>1079</c:v>
                </c:pt>
                <c:pt idx="154">
                  <c:v>1090</c:v>
                </c:pt>
                <c:pt idx="155">
                  <c:v>1077</c:v>
                </c:pt>
                <c:pt idx="156">
                  <c:v>1103</c:v>
                </c:pt>
                <c:pt idx="157">
                  <c:v>1089</c:v>
                </c:pt>
                <c:pt idx="158">
                  <c:v>1072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1</c:v>
                </c:pt>
                <c:pt idx="165">
                  <c:v>1105</c:v>
                </c:pt>
                <c:pt idx="166">
                  <c:v>1146</c:v>
                </c:pt>
                <c:pt idx="167">
                  <c:v>1170</c:v>
                </c:pt>
                <c:pt idx="168">
                  <c:v>1213</c:v>
                </c:pt>
                <c:pt idx="169">
                  <c:v>1241</c:v>
                </c:pt>
                <c:pt idx="170">
                  <c:v>1266</c:v>
                </c:pt>
                <c:pt idx="171">
                  <c:v>1270</c:v>
                </c:pt>
                <c:pt idx="172">
                  <c:v>1269</c:v>
                </c:pt>
                <c:pt idx="173">
                  <c:v>1282</c:v>
                </c:pt>
                <c:pt idx="174">
                  <c:v>1362</c:v>
                </c:pt>
                <c:pt idx="175">
                  <c:v>1391</c:v>
                </c:pt>
                <c:pt idx="176">
                  <c:v>1410</c:v>
                </c:pt>
                <c:pt idx="177">
                  <c:v>1463</c:v>
                </c:pt>
                <c:pt idx="178">
                  <c:v>1438</c:v>
                </c:pt>
                <c:pt idx="179">
                  <c:v>1465</c:v>
                </c:pt>
                <c:pt idx="180">
                  <c:v>1502</c:v>
                </c:pt>
                <c:pt idx="181">
                  <c:v>1585</c:v>
                </c:pt>
                <c:pt idx="182">
                  <c:v>1597</c:v>
                </c:pt>
                <c:pt idx="183">
                  <c:v>1624</c:v>
                </c:pt>
                <c:pt idx="184">
                  <c:v>1650</c:v>
                </c:pt>
                <c:pt idx="185">
                  <c:v>1670</c:v>
                </c:pt>
                <c:pt idx="186">
                  <c:v>1674</c:v>
                </c:pt>
                <c:pt idx="187">
                  <c:v>1676</c:v>
                </c:pt>
                <c:pt idx="188">
                  <c:v>1772</c:v>
                </c:pt>
                <c:pt idx="189">
                  <c:v>1802</c:v>
                </c:pt>
                <c:pt idx="190">
                  <c:v>1832</c:v>
                </c:pt>
                <c:pt idx="191">
                  <c:v>1821</c:v>
                </c:pt>
                <c:pt idx="192">
                  <c:v>1833</c:v>
                </c:pt>
                <c:pt idx="193">
                  <c:v>1781</c:v>
                </c:pt>
                <c:pt idx="194">
                  <c:v>1828</c:v>
                </c:pt>
                <c:pt idx="195">
                  <c:v>1885</c:v>
                </c:pt>
                <c:pt idx="196">
                  <c:v>1892</c:v>
                </c:pt>
                <c:pt idx="197">
                  <c:v>1861</c:v>
                </c:pt>
                <c:pt idx="198">
                  <c:v>1861</c:v>
                </c:pt>
                <c:pt idx="199">
                  <c:v>1821</c:v>
                </c:pt>
                <c:pt idx="200">
                  <c:v>1782</c:v>
                </c:pt>
                <c:pt idx="201">
                  <c:v>1806</c:v>
                </c:pt>
                <c:pt idx="202">
                  <c:v>1826</c:v>
                </c:pt>
                <c:pt idx="203">
                  <c:v>1778</c:v>
                </c:pt>
                <c:pt idx="204">
                  <c:v>1747</c:v>
                </c:pt>
                <c:pt idx="205">
                  <c:v>1745</c:v>
                </c:pt>
                <c:pt idx="206">
                  <c:v>1683</c:v>
                </c:pt>
                <c:pt idx="207">
                  <c:v>1647</c:v>
                </c:pt>
                <c:pt idx="208">
                  <c:v>1658</c:v>
                </c:pt>
                <c:pt idx="209">
                  <c:v>1668</c:v>
                </c:pt>
                <c:pt idx="210">
                  <c:v>1619</c:v>
                </c:pt>
                <c:pt idx="211">
                  <c:v>1560</c:v>
                </c:pt>
                <c:pt idx="212">
                  <c:v>1513</c:v>
                </c:pt>
                <c:pt idx="213">
                  <c:v>1430</c:v>
                </c:pt>
                <c:pt idx="214">
                  <c:v>1405</c:v>
                </c:pt>
                <c:pt idx="215">
                  <c:v>1385</c:v>
                </c:pt>
                <c:pt idx="216">
                  <c:v>1353</c:v>
                </c:pt>
                <c:pt idx="217">
                  <c:v>1406</c:v>
                </c:pt>
                <c:pt idx="218">
                  <c:v>1374</c:v>
                </c:pt>
                <c:pt idx="219">
                  <c:v>1328</c:v>
                </c:pt>
                <c:pt idx="220">
                  <c:v>1249</c:v>
                </c:pt>
                <c:pt idx="221">
                  <c:v>1233</c:v>
                </c:pt>
                <c:pt idx="222">
                  <c:v>1216</c:v>
                </c:pt>
                <c:pt idx="223">
                  <c:v>1203</c:v>
                </c:pt>
                <c:pt idx="224">
                  <c:v>1177</c:v>
                </c:pt>
                <c:pt idx="225">
                  <c:v>1133</c:v>
                </c:pt>
                <c:pt idx="226">
                  <c:v>1054</c:v>
                </c:pt>
                <c:pt idx="227">
                  <c:v>1032</c:v>
                </c:pt>
                <c:pt idx="228">
                  <c:v>991</c:v>
                </c:pt>
                <c:pt idx="229" formatCode="General">
                  <c:v>995</c:v>
                </c:pt>
                <c:pt idx="230">
                  <c:v>1012</c:v>
                </c:pt>
                <c:pt idx="231" formatCode="General">
                  <c:v>961</c:v>
                </c:pt>
                <c:pt idx="232" formatCode="General">
                  <c:v>920</c:v>
                </c:pt>
                <c:pt idx="233" formatCode="General">
                  <c:v>860</c:v>
                </c:pt>
                <c:pt idx="234" formatCode="General">
                  <c:v>816</c:v>
                </c:pt>
                <c:pt idx="235" formatCode="General">
                  <c:v>7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79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D56A-4EBF-8935-6E1D9BB68909}"/>
                </c:ext>
              </c:extLst>
            </c:dLbl>
            <c:dLbl>
              <c:idx val="200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D56A-4EBF-8935-6E1D9BB68909}"/>
                </c:ext>
              </c:extLst>
            </c:dLbl>
            <c:dLbl>
              <c:idx val="228"/>
              <c:layout>
                <c:manualLayout>
                  <c:x val="-3.0219362317067216E-2"/>
                  <c:y val="-8.7783902626940205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 557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D56A-4EBF-8935-6E1D9BB6890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37</c:f>
              <c:numCache>
                <c:formatCode>m/d/yyyy</c:formatCode>
                <c:ptCount val="23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</c:numCache>
            </c:numRef>
          </c:cat>
          <c:val>
            <c:numRef>
              <c:f>Sheet1!$B$2:$B$237</c:f>
              <c:numCache>
                <c:formatCode>#,##0</c:formatCode>
                <c:ptCount val="236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  <c:pt idx="233">
                  <c:v>1513</c:v>
                </c:pt>
                <c:pt idx="234">
                  <c:v>1550</c:v>
                </c:pt>
                <c:pt idx="235">
                  <c:v>15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37</c:f>
              <c:numCache>
                <c:formatCode>m/d/yyyy</c:formatCode>
                <c:ptCount val="23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</c:numCache>
            </c:numRef>
          </c:cat>
          <c:val>
            <c:numRef>
              <c:f>Sheet1!$C$2:$C$237</c:f>
              <c:numCache>
                <c:formatCode>#,##0</c:formatCode>
                <c:ptCount val="23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25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5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5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5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4.xml"/><Relationship Id="rId5" Type="http://schemas.openxmlformats.org/officeDocument/2006/relationships/tags" Target="../tags/tag7.xml"/><Relationship Id="rId10" Type="http://schemas.openxmlformats.org/officeDocument/2006/relationships/chart" Target="../charts/chart3.xml"/><Relationship Id="rId4" Type="http://schemas.openxmlformats.org/officeDocument/2006/relationships/tags" Target="../tags/tag6.xml"/><Relationship Id="rId9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r>
              <a:rPr lang="cs-CZ" sz="3600" b="1" i="1" dirty="0"/>
              <a:t>- aktualizace 25.04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/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08220884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150963816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596462198"/>
              </p:ext>
            </p:extLst>
          </p:nvPr>
        </p:nvGraphicFramePr>
        <p:xfrm>
          <a:off x="390497" y="4014235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772241447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9970146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809944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463</TotalTime>
  <Words>1042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Žofka Jan Mgr. Ing.</cp:lastModifiedBy>
  <cp:revision>624</cp:revision>
  <dcterms:created xsi:type="dcterms:W3CDTF">2020-08-08T14:25:07Z</dcterms:created>
  <dcterms:modified xsi:type="dcterms:W3CDTF">2021-04-25T03:39:45Z</dcterms:modified>
</cp:coreProperties>
</file>